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9" r:id="rId2"/>
  </p:sldMasterIdLst>
  <p:notesMasterIdLst>
    <p:notesMasterId r:id="rId5"/>
  </p:notesMasterIdLst>
  <p:handoutMasterIdLst>
    <p:handoutMasterId r:id="rId6"/>
  </p:handoutMasterIdLst>
  <p:sldIdLst>
    <p:sldId id="257" r:id="rId3"/>
    <p:sldId id="259" r:id="rId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NDEBOEUF Marie" initials="GM" lastIdx="7" clrIdx="0">
    <p:extLst>
      <p:ext uri="{19B8F6BF-5375-455C-9EA6-DF929625EA0E}">
        <p15:presenceInfo xmlns:p15="http://schemas.microsoft.com/office/powerpoint/2012/main" userId="S-1-5-21-3163637644-1603862540-193579974-760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3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0" autoAdjust="0"/>
    <p:restoredTop sz="87565" autoAdjust="0"/>
  </p:normalViewPr>
  <p:slideViewPr>
    <p:cSldViewPr snapToGrid="0">
      <p:cViewPr varScale="1">
        <p:scale>
          <a:sx n="74" d="100"/>
          <a:sy n="74" d="100"/>
        </p:scale>
        <p:origin x="600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44E54C70-9D95-46E2-8493-7BEB43EAE6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18004D4-6B5A-4EAC-95E6-C9FBB8329B5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A7CC79-3EA3-47D5-9432-E4DEE515EF44}" type="datetimeFigureOut">
              <a:rPr lang="fr-FR" smtClean="0"/>
              <a:t>09/02/20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262E7F7-2BCF-4D39-A347-B5077F9D17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B8323E3-6426-44E1-A977-3DD6AAE11F2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8DB145-C3D8-4849-B591-73DCEE2880D6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09274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98B1B2-75BF-4E26-8C2C-204C19F73978}" type="datetimeFigureOut">
              <a:rPr lang="fr-FR" smtClean="0"/>
              <a:t>09/02/2022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DF2C3B-CA45-4175-9520-CE406756BE8A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88903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06CE12A0-A835-40B2-93D9-54E4417B9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14" y="215727"/>
            <a:ext cx="2165372" cy="196186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F51AF2CC-CA7A-4160-BCB8-EE1B7E4FB5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1542" y="3081866"/>
            <a:ext cx="11388902" cy="1253061"/>
          </a:xfrm>
        </p:spPr>
        <p:txBody>
          <a:bodyPr anchor="t">
            <a:normAutofit/>
          </a:bodyPr>
          <a:lstStyle>
            <a:lvl1pPr algn="l">
              <a:defRPr sz="4200" b="1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89E80AB-5566-4154-891E-B4A2B914C0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543" y="4559827"/>
            <a:ext cx="11388902" cy="462662"/>
          </a:xfrm>
        </p:spPr>
        <p:txBody>
          <a:bodyPr>
            <a:noAutofit/>
          </a:bodyPr>
          <a:lstStyle>
            <a:lvl1pPr marL="0" indent="0" algn="l">
              <a:buNone/>
              <a:defRPr sz="3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2BFC73-3D1E-4F51-8954-158EBF717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50400" y="6398170"/>
            <a:ext cx="714828" cy="365125"/>
          </a:xfr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25" name="Graphique 24">
            <a:extLst>
              <a:ext uri="{FF2B5EF4-FFF2-40B4-BE49-F238E27FC236}">
                <a16:creationId xmlns:a16="http://schemas.microsoft.com/office/drawing/2014/main" id="{0BE7EFDA-176E-45B6-896B-A98F6FB9973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295518" y="309561"/>
            <a:ext cx="1554994" cy="1773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767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87E2E71-B4D5-4161-8E8F-4CE1E8EAC9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45422" y="6370462"/>
            <a:ext cx="1145036" cy="365125"/>
          </a:xfrm>
          <a:prstGeom prst="rect">
            <a:avLst/>
          </a:prstGeom>
        </p:spPr>
        <p:txBody>
          <a:bodyPr/>
          <a:lstStyle/>
          <a:p>
            <a:fld id="{FB25E1FC-3DE7-4AB2-ABE2-142B6DEDDFCD}" type="datetime1">
              <a:rPr lang="fr-FR" smtClean="0"/>
              <a:t>09/02/2022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994512E-A4E3-432B-A9AE-2D9B51832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E40B0F5-2DD9-489D-817B-987E0AFC3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F7133E1-F262-4F00-9CA0-BEAA2CA6BA19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8650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63F8332E-96D7-4962-8D67-873DB7E88E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832" y="234637"/>
            <a:ext cx="4298373" cy="3894401"/>
          </a:xfrm>
          <a:prstGeom prst="rect">
            <a:avLst/>
          </a:prstGeom>
        </p:spPr>
      </p:pic>
      <p:pic>
        <p:nvPicPr>
          <p:cNvPr id="16" name="Graphique 15">
            <a:extLst>
              <a:ext uri="{FF2B5EF4-FFF2-40B4-BE49-F238E27FC236}">
                <a16:creationId xmlns:a16="http://schemas.microsoft.com/office/drawing/2014/main" id="{740748C0-9B94-4E16-844B-BFC559539F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568872" y="522073"/>
            <a:ext cx="1847274" cy="2106542"/>
          </a:xfrm>
          <a:prstGeom prst="rect">
            <a:avLst/>
          </a:prstGeom>
        </p:spPr>
      </p:pic>
      <p:sp>
        <p:nvSpPr>
          <p:cNvPr id="17" name="Espace réservé du contenu 5">
            <a:extLst>
              <a:ext uri="{FF2B5EF4-FFF2-40B4-BE49-F238E27FC236}">
                <a16:creationId xmlns:a16="http://schemas.microsoft.com/office/drawing/2014/main" id="{7C173263-137C-4EFC-BD01-26F8DC39B5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903961" y="4990810"/>
            <a:ext cx="3614277" cy="150018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1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28476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351584" y="0"/>
            <a:ext cx="9505056" cy="83671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195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Insérer un titre</a:t>
            </a:r>
            <a:endParaRPr lang="fr-FR" dirty="0"/>
          </a:p>
        </p:txBody>
      </p:sp>
      <p:sp>
        <p:nvSpPr>
          <p:cNvPr id="11" name="Sous-titre 2"/>
          <p:cNvSpPr>
            <a:spLocks noGrp="1"/>
          </p:cNvSpPr>
          <p:nvPr>
            <p:ph type="subTitle" idx="10" hasCustomPrompt="1"/>
          </p:nvPr>
        </p:nvSpPr>
        <p:spPr>
          <a:xfrm>
            <a:off x="2351585" y="1124744"/>
            <a:ext cx="9494507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950">
                <a:solidFill>
                  <a:srgbClr val="8EB8CE"/>
                </a:solidFill>
                <a:latin typeface="Trebuchet MS" panose="020B0603020202020204" pitchFamily="34" charset="0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Insérer un sous-titre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8449" y="140167"/>
            <a:ext cx="1824203" cy="55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34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9032699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107116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3" descr="C:\Users\zineb_glila\Desktop\Clients en cours\ADEME\SIG_Investissements_D'avenir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9452705" y="5480774"/>
            <a:ext cx="1242647" cy="1009651"/>
          </a:xfrm>
          <a:prstGeom prst="rect">
            <a:avLst/>
          </a:prstGeom>
          <a:noFill/>
        </p:spPr>
      </p:pic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7" cstate="print"/>
          <a:srcRect l="2307" b="49"/>
          <a:stretch>
            <a:fillRect/>
          </a:stretch>
        </p:blipFill>
        <p:spPr bwMode="gray">
          <a:xfrm rot="16200000">
            <a:off x="-439716" y="439717"/>
            <a:ext cx="6858002" cy="597856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6739284" y="2438400"/>
            <a:ext cx="5103388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2757589" y="3118873"/>
            <a:ext cx="6858001" cy="620261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latin typeface="Gill Sans MT" pitchFamily="34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76377" y="5364242"/>
            <a:ext cx="1362261" cy="1227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8335901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t="24550"/>
          <a:stretch>
            <a:fillRect/>
          </a:stretch>
        </p:blipFill>
        <p:spPr bwMode="auto">
          <a:xfrm>
            <a:off x="0" y="1683658"/>
            <a:ext cx="12192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1" y="4898948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35041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35041" y="898980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12192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latin typeface="Gill Sans MT" pitchFamily="34" charset="0"/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35041" y="4494624"/>
            <a:ext cx="1455616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8423675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8496072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102695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/>
          <p:cNvSpPr>
            <a:spLocks noGrp="1"/>
          </p:cNvSpPr>
          <p:nvPr>
            <p:ph type="title" hasCustomPrompt="1"/>
          </p:nvPr>
        </p:nvSpPr>
        <p:spPr>
          <a:xfrm>
            <a:off x="2351584" y="0"/>
            <a:ext cx="9505056" cy="83671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1950" b="1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Insérer un titre</a:t>
            </a:r>
            <a:endParaRPr lang="fr-FR" dirty="0"/>
          </a:p>
        </p:txBody>
      </p:sp>
      <p:sp>
        <p:nvSpPr>
          <p:cNvPr id="11" name="Sous-titre 2"/>
          <p:cNvSpPr>
            <a:spLocks noGrp="1"/>
          </p:cNvSpPr>
          <p:nvPr>
            <p:ph type="subTitle" idx="10" hasCustomPrompt="1"/>
          </p:nvPr>
        </p:nvSpPr>
        <p:spPr>
          <a:xfrm>
            <a:off x="2351585" y="1124744"/>
            <a:ext cx="9494507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1950">
                <a:solidFill>
                  <a:srgbClr val="8EB8CE"/>
                </a:solidFill>
                <a:latin typeface="Trebuchet MS" panose="020B0603020202020204" pitchFamily="34" charset="0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Insérer un sous-titre</a:t>
            </a:r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8449" y="140167"/>
            <a:ext cx="1824203" cy="55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985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>
            <a:extLst>
              <a:ext uri="{FF2B5EF4-FFF2-40B4-BE49-F238E27FC236}">
                <a16:creationId xmlns:a16="http://schemas.microsoft.com/office/drawing/2014/main" id="{ED341190-8E81-4268-82D2-B1594B852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7173931D-BCE5-4DD6-837E-9093D81A36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542" y="1117735"/>
            <a:ext cx="11388916" cy="591425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fr-FR" dirty="0"/>
              <a:t>Sommai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710B1E8-C169-4C55-A825-20052736C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1071578E-28D3-4579-8A85-74823C1E6D6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FC36484D-BB1A-474C-B0F5-C8D0C79DA0C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space réservé du contenu 5">
            <a:extLst>
              <a:ext uri="{FF2B5EF4-FFF2-40B4-BE49-F238E27FC236}">
                <a16:creationId xmlns:a16="http://schemas.microsoft.com/office/drawing/2014/main" id="{4192D36F-A845-4959-8B50-FB78F7C2E5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456730"/>
            <a:ext cx="3614277" cy="3422568"/>
          </a:xfr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600" b="1"/>
            </a:lvl1pPr>
            <a:lvl2pPr marL="631825" indent="-2730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28" name="Espace réservé du contenu 5">
            <a:extLst>
              <a:ext uri="{FF2B5EF4-FFF2-40B4-BE49-F238E27FC236}">
                <a16:creationId xmlns:a16="http://schemas.microsoft.com/office/drawing/2014/main" id="{017122FA-9593-403F-B7CA-7E0389A65E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88861" y="2456730"/>
            <a:ext cx="3614277" cy="3422568"/>
          </a:xfr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600" b="1"/>
            </a:lvl1pPr>
            <a:lvl2pPr marL="631825" indent="-2730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29" name="Espace réservé du contenu 5">
            <a:extLst>
              <a:ext uri="{FF2B5EF4-FFF2-40B4-BE49-F238E27FC236}">
                <a16:creationId xmlns:a16="http://schemas.microsoft.com/office/drawing/2014/main" id="{2FAA6C87-BB8A-4CEF-8DE6-64CB5B6C02F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0230" y="2456730"/>
            <a:ext cx="3614277" cy="3422568"/>
          </a:xfr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  <a:defRPr sz="1600" b="1"/>
            </a:lvl1pPr>
            <a:lvl2pPr marL="631825" indent="-2730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LcParenR"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831057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173931D-BCE5-4DD6-837E-9093D81A3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2766218"/>
            <a:ext cx="11388916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710B1E8-C169-4C55-A825-20052736C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E228966-DD17-49F9-B9BC-484B5A4B39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1" name="Graphique 10">
            <a:extLst>
              <a:ext uri="{FF2B5EF4-FFF2-40B4-BE49-F238E27FC236}">
                <a16:creationId xmlns:a16="http://schemas.microsoft.com/office/drawing/2014/main" id="{CC795930-16B5-40AC-A53B-DB23FCE08B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7F1165D-0DBB-4343-96DD-6E8FA9F6076A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B0B57733-763C-45E9-9A99-1B7E912A7B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969963"/>
            <a:ext cx="12192000" cy="5356225"/>
          </a:xfrm>
        </p:spPr>
        <p:txBody>
          <a:bodyPr/>
          <a:lstStyle/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87171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11388916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130660"/>
            <a:ext cx="1824203" cy="55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967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5528204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CD79B451-1AFF-4E01-A5EB-F3F70D1E77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2258" y="2392078"/>
            <a:ext cx="5528204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400" y="130660"/>
            <a:ext cx="1824203" cy="55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253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0C406E-636A-4D77-BA99-F66CF9467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CD79B451-1AFF-4E01-A5EB-F3F70D1E77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88861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1" name="Espace réservé du contenu 5">
            <a:extLst>
              <a:ext uri="{FF2B5EF4-FFF2-40B4-BE49-F238E27FC236}">
                <a16:creationId xmlns:a16="http://schemas.microsoft.com/office/drawing/2014/main" id="{BF48DBAD-980E-4784-AD80-364655C537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0230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33" name="Espace réservé du contenu 5">
            <a:extLst>
              <a:ext uri="{FF2B5EF4-FFF2-40B4-BE49-F238E27FC236}">
                <a16:creationId xmlns:a16="http://schemas.microsoft.com/office/drawing/2014/main" id="{04DDA3B4-0E27-46BA-92BD-3D9E90A5EC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42400" y="147785"/>
            <a:ext cx="2736396" cy="539538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1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2333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1 colonne 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0C406E-636A-4D77-BA99-F66CF9467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11388916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4" name="Espace réservé du contenu 5">
            <a:extLst>
              <a:ext uri="{FF2B5EF4-FFF2-40B4-BE49-F238E27FC236}">
                <a16:creationId xmlns:a16="http://schemas.microsoft.com/office/drawing/2014/main" id="{F4446820-0AA1-4B7F-9CDE-D21DCFF984C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42400" y="147785"/>
            <a:ext cx="2736396" cy="539538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1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28459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2 colonnes v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6459C7A-22DD-4DA0-996C-F27E91BCDD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45422" y="6370462"/>
            <a:ext cx="1145036" cy="365125"/>
          </a:xfrm>
          <a:prstGeom prst="rect">
            <a:avLst/>
          </a:prstGeom>
        </p:spPr>
        <p:txBody>
          <a:bodyPr/>
          <a:lstStyle/>
          <a:p>
            <a:fld id="{AC74B510-252F-4777-A78B-388D2B86BA2F}" type="datetime1">
              <a:rPr lang="fr-FR" smtClean="0"/>
              <a:t>09/02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0C406E-636A-4D77-BA99-F66CF9467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5528204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CD79B451-1AFF-4E01-A5EB-F3F70D1E77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62258" y="2392078"/>
            <a:ext cx="5528204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4" name="Espace réservé du contenu 5">
            <a:extLst>
              <a:ext uri="{FF2B5EF4-FFF2-40B4-BE49-F238E27FC236}">
                <a16:creationId xmlns:a16="http://schemas.microsoft.com/office/drawing/2014/main" id="{CB1A86F2-2898-4FF9-BBB1-4866847F538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42400" y="147785"/>
            <a:ext cx="2736396" cy="539538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1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62454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us 3 colonnes v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D593A3-12EC-4325-949A-8513F8ED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770447"/>
            <a:ext cx="11388916" cy="1325563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6459C7A-22DD-4DA0-996C-F27E91BCDD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645422" y="6370462"/>
            <a:ext cx="1145036" cy="365125"/>
          </a:xfrm>
          <a:prstGeom prst="rect">
            <a:avLst/>
          </a:prstGeom>
        </p:spPr>
        <p:txBody>
          <a:bodyPr/>
          <a:lstStyle/>
          <a:p>
            <a:fld id="{2EDAE380-707A-4B17-810D-A4D3F1C1ABAA}" type="datetime1">
              <a:rPr lang="fr-FR" smtClean="0"/>
              <a:t>09/02/20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D0C406E-636A-4D77-BA99-F66CF9467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542" y="6370462"/>
            <a:ext cx="4085550" cy="36512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Intitulé de la direction/servic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918D5BC-FCAD-4EC5-845A-FC6AE6B6F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F12E4D51-273F-4CF5-A494-DA7F6D877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97" y="130728"/>
            <a:ext cx="716272" cy="648955"/>
          </a:xfrm>
          <a:prstGeom prst="rect">
            <a:avLst/>
          </a:prstGeom>
        </p:spPr>
      </p:pic>
      <p:pic>
        <p:nvPicPr>
          <p:cNvPr id="12" name="Graphique 11">
            <a:extLst>
              <a:ext uri="{FF2B5EF4-FFF2-40B4-BE49-F238E27FC236}">
                <a16:creationId xmlns:a16="http://schemas.microsoft.com/office/drawing/2014/main" id="{83C2AF93-B225-409D-B1B8-E11CCA6491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492620" y="159014"/>
            <a:ext cx="518634" cy="591425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CE161EE-D5F0-4BBD-82F6-648AAE2CA275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C65D261E-2C4A-4979-B86B-4100D57BB9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1541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CD79B451-1AFF-4E01-A5EB-F3F70D1E777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88861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1" name="Espace réservé du contenu 5">
            <a:extLst>
              <a:ext uri="{FF2B5EF4-FFF2-40B4-BE49-F238E27FC236}">
                <a16:creationId xmlns:a16="http://schemas.microsoft.com/office/drawing/2014/main" id="{BF48DBAD-980E-4784-AD80-364655C537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70230" y="2392078"/>
            <a:ext cx="3614277" cy="3422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33" name="Espace réservé du contenu 5">
            <a:extLst>
              <a:ext uri="{FF2B5EF4-FFF2-40B4-BE49-F238E27FC236}">
                <a16:creationId xmlns:a16="http://schemas.microsoft.com/office/drawing/2014/main" id="{04DDA3B4-0E27-46BA-92BD-3D9E90A5EC6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42400" y="147785"/>
            <a:ext cx="2736396" cy="539538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100" b="0"/>
            </a:lvl1pPr>
            <a:lvl2pPr marL="358775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None/>
              <a:defRPr sz="1600"/>
            </a:lvl2pPr>
          </a:lstStyle>
          <a:p>
            <a:pPr lvl="0"/>
            <a:r>
              <a:rPr lang="fr-FR" smtClean="0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09940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7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11" Type="http://schemas.openxmlformats.org/officeDocument/2006/relationships/image" Target="../media/image8.jpe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18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716DB780-74F7-4FC9-9D7D-FA459DE50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542" y="365125"/>
            <a:ext cx="1138891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79036DE-422F-44CC-BF88-4B490C5BCB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1542" y="1825625"/>
            <a:ext cx="1138891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0EB3D9-6B18-4640-ADFF-1EE86CD60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0400" y="6370462"/>
            <a:ext cx="7148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fld id="{07C99ADF-20A6-40EF-AAB9-F326D6E12C60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49709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52" r:id="rId6"/>
    <p:sldLayoutId id="2147483663" r:id="rId7"/>
    <p:sldLayoutId id="2147483664" r:id="rId8"/>
    <p:sldLayoutId id="2147483665" r:id="rId9"/>
    <p:sldLayoutId id="2147483655" r:id="rId10"/>
    <p:sldLayoutId id="2147483651" r:id="rId11"/>
    <p:sldLayoutId id="2147483666" r:id="rId12"/>
    <p:sldLayoutId id="2147483667" r:id="rId13"/>
    <p:sldLayoutId id="2147483668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 userDrawn="1"/>
        </p:nvSpPr>
        <p:spPr bwMode="gray">
          <a:xfrm>
            <a:off x="1" y="6457086"/>
            <a:ext cx="12194450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>
              <a:latin typeface="Gill Sans MT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1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pic>
        <p:nvPicPr>
          <p:cNvPr id="14" name="Picture 113" descr="C:\Users\zineb_glila\Desktop\Clients en cours\ADEME\SIG_Investissements_D'avenir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977168" y="6405431"/>
            <a:ext cx="436929" cy="355005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 bwMode="gray">
          <a:xfrm>
            <a:off x="109646" y="6508387"/>
            <a:ext cx="18434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schemeClr val="bg1"/>
                </a:solidFill>
                <a:latin typeface="Gill Sans MT" pitchFamily="34" charset="0"/>
              </a:rPr>
              <a:pPr algn="r"/>
              <a:t>‹N°›</a:t>
            </a:fld>
            <a:endParaRPr lang="fr-FR" sz="800" dirty="0">
              <a:solidFill>
                <a:schemeClr val="bg1"/>
              </a:solidFill>
              <a:latin typeface="Gill Sans MT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640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23645" y="6371535"/>
            <a:ext cx="464378" cy="41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ZoneTexte 9"/>
          <p:cNvSpPr txBox="1"/>
          <p:nvPr userDrawn="1"/>
        </p:nvSpPr>
        <p:spPr>
          <a:xfrm>
            <a:off x="1442433" y="6413678"/>
            <a:ext cx="82583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 smtClean="0">
                <a:solidFill>
                  <a:schemeClr val="bg1"/>
                </a:solidFill>
              </a:rPr>
              <a:t>Déploiement</a:t>
            </a:r>
            <a:r>
              <a:rPr lang="fr-FR" sz="1050" baseline="0" dirty="0" smtClean="0">
                <a:solidFill>
                  <a:schemeClr val="bg1"/>
                </a:solidFill>
              </a:rPr>
              <a:t> DEEP Concours d’innovation Vague 4 - 12092019</a:t>
            </a:r>
            <a:endParaRPr lang="fr-FR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319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C40FB52E-9197-4F2E-B2FF-74FA20ED86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1542" y="3081866"/>
            <a:ext cx="11388902" cy="731851"/>
          </a:xfrm>
        </p:spPr>
        <p:txBody>
          <a:bodyPr>
            <a:normAutofit fontScale="90000"/>
          </a:bodyPr>
          <a:lstStyle/>
          <a:p>
            <a:r>
              <a:rPr lang="fr-FR" dirty="0" smtClean="0">
                <a:solidFill>
                  <a:srgbClr val="FF0000"/>
                </a:solidFill>
              </a:rPr>
              <a:t>AAP </a:t>
            </a:r>
            <a:r>
              <a:rPr lang="fr-FR" dirty="0">
                <a:solidFill>
                  <a:srgbClr val="FF0000"/>
                </a:solidFill>
              </a:rPr>
              <a:t>PME Innovation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Projet XXX</a:t>
            </a:r>
            <a:endParaRPr lang="fr-FR" dirty="0"/>
          </a:p>
        </p:txBody>
      </p:sp>
      <p:pic>
        <p:nvPicPr>
          <p:cNvPr id="3" name="Image 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837" y="545014"/>
            <a:ext cx="2165394" cy="118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86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C40FB52E-9197-4F2E-B2FF-74FA20ED86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1542" y="3081866"/>
            <a:ext cx="11388902" cy="731851"/>
          </a:xfrm>
        </p:spPr>
        <p:txBody>
          <a:bodyPr>
            <a:normAutofit/>
          </a:bodyPr>
          <a:lstStyle/>
          <a:p>
            <a:endParaRPr lang="fr-FR" dirty="0"/>
          </a:p>
        </p:txBody>
      </p:sp>
      <p:pic>
        <p:nvPicPr>
          <p:cNvPr id="3" name="Image 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2837" y="545014"/>
            <a:ext cx="2165394" cy="118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501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ADEME">
      <a:dk1>
        <a:sysClr val="windowText" lastClr="000000"/>
      </a:dk1>
      <a:lt1>
        <a:sysClr val="window" lastClr="FFFFFF"/>
      </a:lt1>
      <a:dk2>
        <a:srgbClr val="169B62"/>
      </a:dk2>
      <a:lt2>
        <a:srgbClr val="466964"/>
      </a:lt2>
      <a:accent1>
        <a:srgbClr val="5770BE"/>
      </a:accent1>
      <a:accent2>
        <a:srgbClr val="484D7A"/>
      </a:accent2>
      <a:accent3>
        <a:srgbClr val="FF8D7E"/>
      </a:accent3>
      <a:accent4>
        <a:srgbClr val="FFE800"/>
      </a:accent4>
      <a:accent5>
        <a:srgbClr val="FF9940"/>
      </a:accent5>
      <a:accent6>
        <a:srgbClr val="FF6F4C"/>
      </a:accent6>
      <a:hlink>
        <a:srgbClr val="7D4E5B"/>
      </a:hlink>
      <a:folHlink>
        <a:srgbClr val="A26859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320_ADEME_Masque PPT Arial.pptx [Lecture seule]" id="{2C70ABF1-A830-4F25-86D2-0526B50EC19D}" vid="{57811D07-33D5-43AE-8025-39FCACA17539}"/>
    </a:ext>
  </a:extLst>
</a:theme>
</file>

<file path=ppt/theme/theme2.xml><?xml version="1.0" encoding="utf-8"?>
<a:theme xmlns:a="http://schemas.openxmlformats.org/drawingml/2006/main" name="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_bleu-16_9</Template>
  <TotalTime>1397</TotalTime>
  <Words>6</Words>
  <Application>Microsoft Office PowerPoint</Application>
  <PresentationFormat>Grand écran</PresentationFormat>
  <Paragraphs>1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1" baseType="lpstr">
      <vt:lpstr>Arial</vt:lpstr>
      <vt:lpstr>Calibri</vt:lpstr>
      <vt:lpstr>Gill Sans MT</vt:lpstr>
      <vt:lpstr>Trebuchet MS</vt:lpstr>
      <vt:lpstr>Wingdings</vt:lpstr>
      <vt:lpstr>Wingdings 2</vt:lpstr>
      <vt:lpstr>Thème Office</vt:lpstr>
      <vt:lpstr>Default Theme</vt:lpstr>
      <vt:lpstr>think-cell Slide</vt:lpstr>
      <vt:lpstr>AAP PME Innovation Projet XXX</vt:lpstr>
      <vt:lpstr>Présentation PowerPoint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ploiement services techniques DEEP  Concours d’innovation i-Nov (CI) Vague 5</dc:title>
  <dc:creator>GANDEBOEUF Marie</dc:creator>
  <cp:lastModifiedBy>DE TOUCHET Adélaïde</cp:lastModifiedBy>
  <cp:revision>49</cp:revision>
  <cp:lastPrinted>2020-03-31T11:48:13Z</cp:lastPrinted>
  <dcterms:created xsi:type="dcterms:W3CDTF">2020-03-30T15:34:04Z</dcterms:created>
  <dcterms:modified xsi:type="dcterms:W3CDTF">2022-02-09T17:00:30Z</dcterms:modified>
</cp:coreProperties>
</file>